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media/image4.bin" ContentType="image/jpeg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7" r:id="rId1"/>
  </p:sldMasterIdLst>
  <p:notesMasterIdLst>
    <p:notesMasterId r:id="rId7"/>
  </p:notesMasterIdLst>
  <p:handoutMasterIdLst>
    <p:handoutMasterId r:id="rId8"/>
  </p:handoutMasterIdLst>
  <p:sldIdLst>
    <p:sldId id="307" r:id="rId2"/>
    <p:sldId id="399" r:id="rId3"/>
    <p:sldId id="397" r:id="rId4"/>
    <p:sldId id="398" r:id="rId5"/>
    <p:sldId id="401" r:id="rId6"/>
  </p:sldIdLst>
  <p:sldSz cx="12192000" cy="6858000"/>
  <p:notesSz cx="7315200" cy="96012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E3329B-8616-49A2-B158-36CFB9280DC6}">
          <p14:sldIdLst>
            <p14:sldId id="307"/>
            <p14:sldId id="399"/>
            <p14:sldId id="397"/>
            <p14:sldId id="398"/>
            <p14:sldId id="401"/>
          </p14:sldIdLst>
        </p14:section>
        <p14:section name="Appendix" id="{BF19F17D-957F-477C-9F3F-6A44804EDBA8}">
          <p14:sldIdLst/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urlow, Kendall" initials="KT" lastIdx="3" clrIdx="0">
    <p:extLst>
      <p:ext uri="{19B8F6BF-5375-455C-9EA6-DF929625EA0E}">
        <p15:presenceInfo xmlns:p15="http://schemas.microsoft.com/office/powerpoint/2012/main" userId="Thurlow, Kenda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3979" autoAdjust="0"/>
  </p:normalViewPr>
  <p:slideViewPr>
    <p:cSldViewPr snapToGrid="0" showGuides="1">
      <p:cViewPr varScale="1">
        <p:scale>
          <a:sx n="69" d="100"/>
          <a:sy n="69" d="100"/>
        </p:scale>
        <p:origin x="567" y="51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10/24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78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4919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806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711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64955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72932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91492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032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58357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328167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" name="think-cell Slide" r:id="rId4" imgW="476" imgH="475" progId="TCLayout.ActiveDocument.1">
                  <p:embed/>
                </p:oleObj>
              </mc:Choice>
              <mc:Fallback>
                <p:oleObj name="think-cell Slide" r:id="rId4" imgW="476" imgH="47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04566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76319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210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686964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379550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048283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44939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784024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863620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17636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869467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120356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335564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86922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665114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98345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483846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822807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81726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45492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083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1303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95434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32885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43299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 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00" y="5480578"/>
            <a:ext cx="5620800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endParaRPr lang="en-GB"/>
          </a:p>
        </p:txBody>
      </p:sp>
      <p:sp>
        <p:nvSpPr>
          <p:cNvPr id="18" name="SD_ART_Logo_White"/>
          <p:cNvSpPr/>
          <p:nvPr userDrawn="1"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28426494" name="LogoFrontSlide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13999" y="503999"/>
            <a:ext cx="1655999" cy="725867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436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566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525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717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3362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4142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1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</p:sldLayoutIdLst>
  <p:transition>
    <p:fade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3.xml"/><Relationship Id="rId4" Type="http://schemas.openxmlformats.org/officeDocument/2006/relationships/image" Target="../media/image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portation.gov/briefing-room/dot3318" TargetMode="External"/><Relationship Id="rId2" Type="http://schemas.openxmlformats.org/officeDocument/2006/relationships/hyperlink" Target="https://www.theatlantic.com/technology/archive/2017/12/on-the-other-side-of-your-airline-travel-tweets/548693/" TargetMode="Externa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4"/>
          <a:srcRect l="15" r="15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ric Roden Capstone Presentation</a:t>
            </a: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November 2018</a:t>
            </a:r>
            <a:endParaRPr lang="en-GB" dirty="0"/>
          </a:p>
        </p:txBody>
      </p:sp>
      <p:sp>
        <p:nvSpPr>
          <p:cNvPr id="8" name="NameDate"/>
          <p:cNvSpPr/>
          <p:nvPr>
            <p:custDataLst>
              <p:tags r:id="rId1"/>
            </p:custDataLst>
          </p:nvPr>
        </p:nvSpPr>
        <p:spPr bwMode="gray">
          <a:xfrm>
            <a:off x="469899" y="6381750"/>
            <a:ext cx="7445375" cy="29845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marL="0" indent="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GB" sz="1050" b="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Issue Overview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04310" y="6362383"/>
            <a:ext cx="78139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 smtClean="0">
                <a:hlinkClick r:id="rId2"/>
              </a:rPr>
              <a:t>https</a:t>
            </a:r>
            <a:r>
              <a:rPr lang="en-US" sz="1000" dirty="0">
                <a:hlinkClick r:id="rId2"/>
              </a:rPr>
              <a:t>://www.theatlantic.com/technology/archive/2017/12/on-the-other-side-of-your-airline-travel-tweets/548693</a:t>
            </a:r>
            <a:r>
              <a:rPr lang="en-US" sz="1000" dirty="0" smtClean="0">
                <a:hlinkClick r:id="rId2"/>
              </a:rPr>
              <a:t>/</a:t>
            </a:r>
            <a:endParaRPr lang="en-US" sz="1000" dirty="0" smtClean="0"/>
          </a:p>
          <a:p>
            <a:pPr marL="228600" indent="-228600">
              <a:buAutoNum type="arabicPeriod"/>
            </a:pPr>
            <a:r>
              <a:rPr lang="en-US" sz="1000" dirty="0">
                <a:hlinkClick r:id="rId3"/>
              </a:rPr>
              <a:t>https://</a:t>
            </a:r>
            <a:r>
              <a:rPr lang="en-US" sz="1000" dirty="0" smtClean="0">
                <a:hlinkClick r:id="rId3"/>
              </a:rPr>
              <a:t>www.transportation.gov/briefing-room/dot3318</a:t>
            </a:r>
            <a:endParaRPr lang="en-US" sz="10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1328731" y="1506604"/>
            <a:ext cx="260798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 smtClean="0">
                <a:solidFill>
                  <a:schemeClr val="accent2"/>
                </a:solidFill>
              </a:rPr>
              <a:t>80,000</a:t>
            </a:r>
            <a:endParaRPr lang="en-GB" sz="6000" dirty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9775" y="2577926"/>
            <a:ext cx="243162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 smtClean="0">
                <a:solidFill>
                  <a:schemeClr val="accent3"/>
                </a:solidFill>
              </a:rPr>
              <a:t>4,500</a:t>
            </a:r>
            <a:endParaRPr lang="en-GB" sz="6000" dirty="0">
              <a:solidFill>
                <a:schemeClr val="accent3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05087" y="3649248"/>
            <a:ext cx="243162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>
                <a:solidFill>
                  <a:schemeClr val="accent1"/>
                </a:solidFill>
              </a:rPr>
              <a:t>1,046</a:t>
            </a:r>
            <a:endParaRPr lang="en-GB" sz="66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193376" y="2667828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In December 2017 American Airlines was receiving more than 4,500 mentions per hour</a:t>
            </a:r>
            <a:r>
              <a:rPr lang="en-US" sz="1800" baseline="30000" dirty="0">
                <a:ea typeface="Times New Roman" panose="02020603050405020304" pitchFamily="18" charset="0"/>
              </a:rPr>
              <a:t>1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93376" y="1602164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Since 2012 </a:t>
            </a:r>
            <a:r>
              <a:rPr lang="en-US" sz="1800" dirty="0" err="1">
                <a:ea typeface="Times New Roman" panose="02020603050405020304" pitchFamily="18" charset="0"/>
              </a:rPr>
              <a:t>Skytrax</a:t>
            </a:r>
            <a:r>
              <a:rPr lang="en-US" sz="1800" dirty="0">
                <a:ea typeface="Times New Roman" panose="02020603050405020304" pitchFamily="18" charset="0"/>
              </a:rPr>
              <a:t>, an airline review website, has received approximately 80,000 airline review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193376" y="3791082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In February 2018, DOT received 1,046 complaints about airline service from </a:t>
            </a:r>
            <a:r>
              <a:rPr lang="en-US" sz="1800" dirty="0" smtClean="0">
                <a:ea typeface="Times New Roman" panose="02020603050405020304" pitchFamily="18" charset="0"/>
              </a:rPr>
              <a:t>consumers</a:t>
            </a:r>
            <a:r>
              <a:rPr lang="en-US" sz="1800" baseline="30000" dirty="0" smtClean="0">
                <a:ea typeface="Times New Roman" panose="02020603050405020304" pitchFamily="18" charset="0"/>
              </a:rPr>
              <a:t>2</a:t>
            </a:r>
            <a:endParaRPr lang="en-US" sz="1800" baseline="30000" dirty="0">
              <a:ea typeface="Times New Roman" panose="02020603050405020304" pitchFamily="18" charset="0"/>
            </a:endParaRPr>
          </a:p>
        </p:txBody>
      </p:sp>
      <p:sp>
        <p:nvSpPr>
          <p:cNvPr id="18" name="Kicker"/>
          <p:cNvSpPr txBox="1"/>
          <p:nvPr/>
        </p:nvSpPr>
        <p:spPr bwMode="gray">
          <a:xfrm>
            <a:off x="1295400" y="5087954"/>
            <a:ext cx="9601200" cy="877417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wrap="square" lIns="88900" tIns="88900" rIns="88900" bIns="88900" rtlCol="0" anchor="ctr" anchorCtr="0">
            <a:noAutofit/>
          </a:bodyPr>
          <a:lstStyle/>
          <a:p>
            <a:pPr algn="ctr">
              <a:spcBef>
                <a:spcPct val="2000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chemeClr val="lt1"/>
                </a:solidFill>
              </a:rPr>
              <a:t>With so many comments and complaints how do airlines prioritize responses? </a:t>
            </a:r>
            <a:endParaRPr lang="en-US" sz="2000" b="1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78894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 bwMode="gray">
          <a:xfrm>
            <a:off x="622300" y="5549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chemeClr val="accent1"/>
                </a:solidFill>
              </a:rPr>
              <a:t>Solution Overview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622300" y="2010229"/>
            <a:ext cx="2560320" cy="4107542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Scraped 79,802 reviews from Skytrax.com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Each record contains a text review, various rating fields (overall rating, seat comfort, etc.) 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Prediction variable is “Recommended” which is either “1” for yes or “0” for no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9065984" y="2010229"/>
            <a:ext cx="2560320" cy="4107542"/>
          </a:xfrm>
          <a:prstGeom prst="rect">
            <a:avLst/>
          </a:prstGeom>
          <a:noFill/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For demo purposes, a generic survey Flask app was constructed and </a:t>
            </a:r>
            <a:r>
              <a:rPr lang="en-US" sz="1600" dirty="0"/>
              <a:t>B</a:t>
            </a:r>
            <a:r>
              <a:rPr lang="en-US" sz="1600" dirty="0" smtClean="0"/>
              <a:t>ootstrap leveraged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Deployment in a business context would require scraping </a:t>
            </a:r>
            <a:r>
              <a:rPr lang="en-US" sz="1600" dirty="0" err="1" smtClean="0"/>
              <a:t>Skytrax</a:t>
            </a:r>
            <a:r>
              <a:rPr lang="en-US" sz="1600" dirty="0" smtClean="0"/>
              <a:t>, Twitter, and other sources, analyzing the data, and responding when needed 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436861" y="2010229"/>
            <a:ext cx="2560320" cy="410754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Null </a:t>
            </a:r>
            <a:r>
              <a:rPr lang="en-US" sz="1600" dirty="0" smtClean="0"/>
              <a:t>rate varied from 0% to ~50% for some field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High correlation between many rating field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8-10 overall rating scores led to recommended, 7-5 was mixed, and 1-4 was not recommended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Text length greatest for 1, 8, 9, and 10 overall ratings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6251422" y="2010229"/>
            <a:ext cx="2560320" cy="4107542"/>
          </a:xfrm>
          <a:prstGeom prst="rect">
            <a:avLst/>
          </a:prstGeom>
          <a:noFill/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Built two models for recommendation predictions: one text only model that would be more applicable in the real world, one full survey model for this specific use case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Performed topic modeling to understand the content of the reviews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622300" y="1502229"/>
            <a:ext cx="2560320" cy="508000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Data Collection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3436861" y="1502229"/>
            <a:ext cx="2560320" cy="50800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Data Exploration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6251422" y="1502229"/>
            <a:ext cx="2560320" cy="508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Modeling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9065984" y="1502229"/>
            <a:ext cx="2560320" cy="508000"/>
          </a:xfrm>
          <a:prstGeom prst="rect">
            <a:avLst/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Deployment</a:t>
            </a:r>
          </a:p>
        </p:txBody>
      </p:sp>
    </p:spTree>
    <p:extLst>
      <p:ext uri="{BB962C8B-B14F-4D97-AF65-F5344CB8AC3E}">
        <p14:creationId xmlns:p14="http://schemas.microsoft.com/office/powerpoint/2010/main" val="320125203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gray">
          <a:xfrm>
            <a:off x="622300" y="5549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chemeClr val="accent1"/>
                </a:solidFill>
              </a:rPr>
              <a:t>Solution Details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87111"/>
              </p:ext>
            </p:extLst>
          </p:nvPr>
        </p:nvGraphicFramePr>
        <p:xfrm>
          <a:off x="622300" y="1430866"/>
          <a:ext cx="11083472" cy="4123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0868">
                  <a:extLst>
                    <a:ext uri="{9D8B030D-6E8A-4147-A177-3AD203B41FA5}">
                      <a16:colId xmlns:a16="http://schemas.microsoft.com/office/drawing/2014/main" val="4233320516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645569825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947953007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519928529"/>
                    </a:ext>
                  </a:extLst>
                </a:gridCol>
              </a:tblGrid>
              <a:tr h="499534">
                <a:tc>
                  <a:txBody>
                    <a:bodyPr/>
                    <a:lstStyle/>
                    <a:p>
                      <a:r>
                        <a:rPr lang="en-US" dirty="0" smtClean="0"/>
                        <a:t>Model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puts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roach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erformance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276175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Text</a:t>
                      </a:r>
                      <a:r>
                        <a:rPr lang="en-US" sz="1600" b="1" baseline="0" dirty="0" smtClean="0"/>
                        <a:t> Only Prediction</a:t>
                      </a:r>
                      <a:endParaRPr lang="en-US" sz="16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F-IDF, Text</a:t>
                      </a:r>
                      <a:r>
                        <a:rPr lang="en-US" sz="1600" baseline="0" dirty="0" smtClean="0"/>
                        <a:t> Sentiment, Text Length 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ogistic Regression (also tried </a:t>
                      </a:r>
                      <a:r>
                        <a:rPr lang="en-US" sz="1600" dirty="0" err="1" smtClean="0"/>
                        <a:t>XGBoost</a:t>
                      </a:r>
                      <a:r>
                        <a:rPr lang="en-US" sz="1600" dirty="0" smtClean="0"/>
                        <a:t>)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.8745</a:t>
                      </a:r>
                      <a:r>
                        <a:rPr lang="en-US" sz="1600" baseline="0" dirty="0" smtClean="0"/>
                        <a:t> Accuracy</a:t>
                      </a:r>
                    </a:p>
                    <a:p>
                      <a:r>
                        <a:rPr lang="en-US" sz="1600" baseline="0" dirty="0" smtClean="0"/>
                        <a:t>.9411 AUC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8089807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Full Survey Prediction</a:t>
                      </a:r>
                      <a:endParaRPr lang="en-US" sz="16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F-IDF, Text</a:t>
                      </a:r>
                      <a:r>
                        <a:rPr lang="en-US" sz="1600" baseline="0" dirty="0" smtClean="0"/>
                        <a:t> Sentiment, Text Length, five additional ratings (with some imputed values)</a:t>
                      </a:r>
                      <a:endParaRPr lang="en-US" sz="160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Logistic Regression (also tried </a:t>
                      </a:r>
                      <a:r>
                        <a:rPr lang="en-US" sz="1600" dirty="0" err="1" smtClean="0"/>
                        <a:t>XGBoost</a:t>
                      </a:r>
                      <a:r>
                        <a:rPr lang="en-US" sz="1600" dirty="0" smtClean="0"/>
                        <a:t>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.9488</a:t>
                      </a:r>
                      <a:r>
                        <a:rPr lang="en-US" sz="1600" baseline="0" dirty="0" smtClean="0"/>
                        <a:t> Accuracy</a:t>
                      </a:r>
                    </a:p>
                    <a:p>
                      <a:r>
                        <a:rPr lang="en-US" sz="1600" baseline="0" dirty="0" smtClean="0"/>
                        <a:t>.9907 AUC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23722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Topic</a:t>
                      </a:r>
                      <a:r>
                        <a:rPr lang="en-US" sz="1600" b="1" baseline="0" dirty="0" smtClean="0"/>
                        <a:t> Model</a:t>
                      </a:r>
                      <a:endParaRPr lang="en-US" sz="16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ext Corpus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atent </a:t>
                      </a:r>
                      <a:r>
                        <a:rPr lang="en-US" sz="1600" dirty="0" err="1" smtClean="0"/>
                        <a:t>Dirichlet</a:t>
                      </a:r>
                      <a:r>
                        <a:rPr lang="en-US" sz="1600" dirty="0" smtClean="0"/>
                        <a:t> Allocation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Used</a:t>
                      </a:r>
                      <a:r>
                        <a:rPr lang="en-US" sz="1600" baseline="0" dirty="0" smtClean="0"/>
                        <a:t> log likelihood and perplexity but ultimately down to personal evaluation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385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95845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98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&lt;/prefix&gt;&#10;    &lt;value&gt;%SD_USR_Name%&lt;/value&gt;&#10;    &lt;postfix&gt;, &lt;/postfix&gt;&#10;  &lt;/element&gt;&#10;  &lt;element&gt;&#10;    &lt;prefix&gt;&lt;/prefix&gt;&#10;    &lt;value&gt;%SD_FLD_DocumentDate%&lt;/value&gt;&#10;    &lt;postfix&gt;&lt;/postfix&gt;&#10;  &lt;/element&gt;&#10;&lt;/content&gt;"/>
  <p:tag name="TEMPLAFYSLIDEID" val="64116108-0093-4edb-ae71-2e765f838bc2"/>
</p:tagLst>
</file>

<file path=ppt/theme/theme1.xml><?xml version="1.0" encoding="utf-8"?>
<a:theme xmlns:a="http://schemas.openxmlformats.org/drawingml/2006/main" name="5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91</TotalTime>
  <Words>333</Words>
  <Application>Microsoft Office PowerPoint</Application>
  <PresentationFormat>Widescreen</PresentationFormat>
  <Paragraphs>49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Open Sans</vt:lpstr>
      <vt:lpstr>Times New Roman</vt:lpstr>
      <vt:lpstr>Verdana</vt:lpstr>
      <vt:lpstr>Wingdings 2</vt:lpstr>
      <vt:lpstr>5_Deloitte_US_Onscreen</vt:lpstr>
      <vt:lpstr>think-cell Slide</vt:lpstr>
      <vt:lpstr>Eric Roden Capstone Presentation</vt:lpstr>
      <vt:lpstr>Issue Overview</vt:lpstr>
      <vt:lpstr>PowerPoint Presentation</vt:lpstr>
      <vt:lpstr>PowerPoint Presentation</vt:lpstr>
      <vt:lpstr>Demo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an, Kim</dc:creator>
  <cp:lastModifiedBy>Roden, Eric Victor</cp:lastModifiedBy>
  <cp:revision>313</cp:revision>
  <dcterms:created xsi:type="dcterms:W3CDTF">2018-06-26T16:20:22Z</dcterms:created>
  <dcterms:modified xsi:type="dcterms:W3CDTF">2018-10-24T21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luginDependencies_0">
    <vt:lpwstr>{"635596967989602323:635756574568932733":[],"635596967989602323:635756574568932734":[],"635596967989602323:635989270736526042":[],"635953564952684809:635956105453816334":[{"dependencyType":"DataSource","dependencyId":"635578795114913335:","dependencyVersi</vt:lpwstr>
  </property>
  <property fmtid="{D5CDD505-2E9C-101B-9397-08002B2CF9AE}" pid="3" name="PluginDependencies_1">
    <vt:lpwstr>on":null},{"dependencyType":"DataSource","dependencyId":"635578795114913335:","dependencyVersion":null},{"dependencyType":"DataSource","dependencyId":"635578795114913335:","dependencyVersion":null},{"dependencyType":"DataSource","dependencyId":"6355787951</vt:lpwstr>
  </property>
  <property fmtid="{D5CDD505-2E9C-101B-9397-08002B2CF9AE}" pid="4" name="PluginDependencies_2">
    <vt:lpwstr>14913335:","dependencyVersion":null},{"dependencyType":"DataSource","dependencyId":"635578795114913335:","dependencyVersion":null},{"dependencyType":"DataSource","dependencyId":"635578795114913335:","dependencyVersion":null},{"dependencyType":"DataSource"</vt:lpwstr>
  </property>
  <property fmtid="{D5CDD505-2E9C-101B-9397-08002B2CF9AE}" pid="5" name="PluginDependencies_3">
    <vt:lpwstr>,"dependencyId":"635578795114913335:","dependencyVersion":null},{"dependencyType":"DataSource","dependencyId":"635578795114913335:","dependencyVersion":null},{"dependencyType":"DataSource","dependencyId":"635578795114913335:","dependencyVersion":null},{"d</vt:lpwstr>
  </property>
  <property fmtid="{D5CDD505-2E9C-101B-9397-08002B2CF9AE}" pid="6" name="PluginDependencies_4">
    <vt:lpwstr>ependencyType":"DataSource","dependencyId":"635578795114913335:","dependencyVersion":null},{"dependencyType":"DataSource","dependencyId":"635578795114913335:","dependencyVersion":null},{"dependencyType":"DataSource","dependencyId":"635578795114913335:","d</vt:lpwstr>
  </property>
  <property fmtid="{D5CDD505-2E9C-101B-9397-08002B2CF9AE}" pid="7" name="PluginDependencies_5">
    <vt:lpwstr>ependencyVersion":null},{"dependencyType":"DataSource","dependencyId":"635578795114913335:","dependencyVersion":null},{"dependencyType":"DataSource","dependencyId":"635578795114913335:","dependencyVersion":null},{"dependencyType":"DataSource","dependencyI</vt:lpwstr>
  </property>
  <property fmtid="{D5CDD505-2E9C-101B-9397-08002B2CF9AE}" pid="8" name="PluginDependencies_6">
    <vt:lpwstr>d":"635578795114913335:","dependencyVersion":null},{"dependencyType":"DataSource","dependencyId":"635578795114913335:","dependencyVersion":null},{"dependencyType":"DataSource","dependencyId":"635578795114913335:","dependencyVersion":null},{"dependencyType</vt:lpwstr>
  </property>
  <property fmtid="{D5CDD505-2E9C-101B-9397-08002B2CF9AE}" pid="9" name="PluginDependencies_7">
    <vt:lpwstr>":"DataSource","dependencyId":"635578795114913335:","dependencyVersion":null},{"dependencyType":"DataSource","dependencyId":"635578795114913335:","dependencyVersion":null},{"dependencyType":"DataSource","dependencyId":"635578795114913335:","dependencyVers</vt:lpwstr>
  </property>
  <property fmtid="{D5CDD505-2E9C-101B-9397-08002B2CF9AE}" pid="10" name="PluginDependencies_8">
    <vt:lpwstr>ion":null},{"dependencyType":"DataSource","dependencyId":"635578795114913335:","dependencyVersion":null},{"dependencyType":"DataSource","dependencyId":"635578795114913335:","dependencyVersion":null},{"dependencyType":"DataSource","dependencyId":"635578795</vt:lpwstr>
  </property>
  <property fmtid="{D5CDD505-2E9C-101B-9397-08002B2CF9AE}" pid="11" name="PluginDependencies_9">
    <vt:lpwstr>114913335:","dependencyVersion":null},{"dependencyType":"DataSource","dependencyId":"635578795114913335:","dependencyVersion":null},{"dependencyType":"DataSource","dependencyId":"635578795114913335:","dependencyVersion":null},{"dependencyType":"DataSource</vt:lpwstr>
  </property>
  <property fmtid="{D5CDD505-2E9C-101B-9397-08002B2CF9AE}" pid="12" name="PluginDependencies_10">
    <vt:lpwstr>","dependencyId":"635578795114913335:","dependencyVersion":null},{"dependencyType":"DataSource","dependencyId":"635578795114913335:","dependencyVersion":null},{"dependencyType":"DataSource","dependencyId":"635578795114913335:","dependencyVersion":null},{"</vt:lpwstr>
  </property>
  <property fmtid="{D5CDD505-2E9C-101B-9397-08002B2CF9AE}" pid="13" name="PluginDependencies_11">
    <vt:lpwstr>dependencyType":"DataSource","dependencyId":"635578795114913335:","dependencyVersion":null},{"dependencyType":"DataSource","dependencyId":"635578795114913335:","dependencyVersion":null},{"dependencyType":"DataSource","dependencyId":"635578795114913335:","</vt:lpwstr>
  </property>
  <property fmtid="{D5CDD505-2E9C-101B-9397-08002B2CF9AE}" pid="14" name="PluginDependencies_12">
    <vt:lpwstr>dependencyVersion":null},{"dependencyType":"DataSource","dependencyId":"635578795114913335:","dependencyVersion":null},{"dependencyType":"DataSource","dependencyId":"635578795114913335:","dependencyVersion":null},{"dependencyType":"DataSource","dependency</vt:lpwstr>
  </property>
  <property fmtid="{D5CDD505-2E9C-101B-9397-08002B2CF9AE}" pid="15" name="PluginDependencies_13">
    <vt:lpwstr>Id":"635578795114913335:","dependencyVersion":null},{"dependencyType":"DataSource","dependencyId":"635578795114913335:","dependencyVersion":null},{"dependencyType":"DataSource","dependencyId":"635578795114913335:","dependencyVersion":null},{"dependencyTyp</vt:lpwstr>
  </property>
  <property fmtid="{D5CDD505-2E9C-101B-9397-08002B2CF9AE}" pid="16" name="PluginDependencies_14">
    <vt:lpwstr>e":"DataSource","dependencyId":"635578795114913335:","dependencyVersion":null},{"dependencyType":"DataSource","dependencyId":"635578795114913335:","dependencyVersion":null},{"dependencyType":"DataSource","dependencyId":"635578795114913335:","dependencyVer</vt:lpwstr>
  </property>
  <property fmtid="{D5CDD505-2E9C-101B-9397-08002B2CF9AE}" pid="17" name="PluginDependencies_15">
    <vt:lpwstr>sion":null},{"dependencyType":"DataSource","dependencyId":"635578795114913335:","dependencyVersion":null},{"dependencyType":"DataSource","dependencyId":"635578795114913335:","dependencyVersion":null},{"dependencyType":"DataSource","dependencyId":"63557879</vt:lpwstr>
  </property>
  <property fmtid="{D5CDD505-2E9C-101B-9397-08002B2CF9AE}" pid="18" name="PluginDependencies_16">
    <vt:lpwstr>5114913335:","dependencyVersion":null},{"dependencyType":"DataSource","dependencyId":"635578795114913335:","dependencyVersion":null},{"dependencyType":"DataSource","dependencyId":"635578795114913335:","dependencyVersion":null},{"dependencyType":"DataSourc</vt:lpwstr>
  </property>
  <property fmtid="{D5CDD505-2E9C-101B-9397-08002B2CF9AE}" pid="19" name="PluginDependencies_17">
    <vt:lpwstr>e","dependencyId":"635578795114913335:","dependencyVersion":null},{"dependencyType":"DataSource","dependencyId":"635578795114913335:","dependencyVersion":null},{"dependencyType":"DataSource","dependencyId":"635578795114913335:","dependencyVersion":null},{</vt:lpwstr>
  </property>
  <property fmtid="{D5CDD505-2E9C-101B-9397-08002B2CF9AE}" pid="20" name="PluginDependencies_18">
    <vt:lpwstr>"dependencyType":"DataSource","dependencyId":"635578795114913335:","dependencyVersion":null},{"dependencyType":"DataSource","dependencyId":"635578795114913335:","dependencyVersion":null},{"dependencyType":"DataSource","dependencyId":"635578795114913335:",</vt:lpwstr>
  </property>
  <property fmtid="{D5CDD505-2E9C-101B-9397-08002B2CF9AE}" pid="21" name="PluginDependencies_19">
    <vt:lpwstr>"dependencyVersion":null},{"dependencyType":"DataSource","dependencyId":"635578795114913335:","dependencyVersion":null},{"dependencyType":"DataSource","dependencyId":"635578795114913335:","dependencyVersion":null},{"dependencyType":"DataSource","dependenc</vt:lpwstr>
  </property>
  <property fmtid="{D5CDD505-2E9C-101B-9397-08002B2CF9AE}" pid="22" name="PluginDependencies_20">
    <vt:lpwstr>yId":"635578795114913335:","dependencyVersion":null},{"dependencyType":"DataSource","dependencyId":"635578795114913335:","dependencyVersion":null},{"dependencyType":"DataSource","dependencyId":"635578795114913335:","dependencyVersion":null},{"dependencyTy</vt:lpwstr>
  </property>
  <property fmtid="{D5CDD505-2E9C-101B-9397-08002B2CF9AE}" pid="23" name="PluginDependencies_21">
    <vt:lpwstr>pe":"DataSource","dependencyId":"635578795114913335:","dependencyVersion":null},{"dependencyType":"DataSource","dependencyId":"635578795114913335:","dependencyVersion":null},{"dependencyType":"DataSource","dependencyId":"635578795114913335:","dependencyVe</vt:lpwstr>
  </property>
  <property fmtid="{D5CDD505-2E9C-101B-9397-08002B2CF9AE}" pid="24" name="PluginDependencies_22">
    <vt:lpwstr>rsion":null},{"dependencyType":"DataSource","dependencyId":"635578795114913335:","dependencyVersion":null},{"dependencyType":"DataSource","dependencyId":"635578795114913335:","dependencyVersion":null},{"dependencyType":"DataSource","dependencyId":"6355787</vt:lpwstr>
  </property>
  <property fmtid="{D5CDD505-2E9C-101B-9397-08002B2CF9AE}" pid="25" name="PluginDependencies_23">
    <vt:lpwstr>95114913335:","dependencyVersion":null},{"dependencyType":"DataSource","dependencyId":"635578795114913335:","dependencyVersion":null},{"dependencyType":"DataSource","dependencyId":"635578795114913335:","dependencyVersion":null},{"dependencyType":"DataSour</vt:lpwstr>
  </property>
  <property fmtid="{D5CDD505-2E9C-101B-9397-08002B2CF9AE}" pid="26" name="PluginDependencies_24">
    <vt:lpwstr>ce","dependencyId":"635578795114913335:","dependencyVersion":null},{"dependencyType":"DataSource","dependencyId":"635578795114913335:","dependencyVersion":null},{"dependencyType":"DataSource","dependencyId":"635578795114913335:","dependencyVersion":null},</vt:lpwstr>
  </property>
  <property fmtid="{D5CDD505-2E9C-101B-9397-08002B2CF9AE}" pid="27" name="PluginDependencies_25">
    <vt:lpwstr>{"dependencyType":"DataSource","dependencyId":"635578795114913335:","dependencyVersion":null},{"dependencyType":"DataSource","dependencyId":"635578795114913335:","dependencyVersion":null},{"dependencyType":"DataSource","dependencyId":"635578795114913335:"</vt:lpwstr>
  </property>
  <property fmtid="{D5CDD505-2E9C-101B-9397-08002B2CF9AE}" pid="28" name="PluginDependencies_26">
    <vt:lpwstr>,"dependencyVersion":null},{"dependencyType":"DataSource","dependencyId":"635578795114913335:","dependencyVersion":null},{"dependencyType":"DataSource","dependencyId":"635578795114913335:","dependencyVersion":null},{"dependencyType":"DataSource","dependen</vt:lpwstr>
  </property>
  <property fmtid="{D5CDD505-2E9C-101B-9397-08002B2CF9AE}" pid="29" name="PluginDependencies_27">
    <vt:lpwstr>cyId":"635578795114913335:","dependencyVersion":null},{"dependencyType":"DataSource","dependencyId":"635578795114913335:","dependencyVersion":null},{"dependencyType":"DataSource","dependencyId":"635578795114913335:","dependencyVersion":null},{"dependencyT</vt:lpwstr>
  </property>
  <property fmtid="{D5CDD505-2E9C-101B-9397-08002B2CF9AE}" pid="30" name="PluginDependencies_28">
    <vt:lpwstr>ype":"DataSource","dependencyId":"635578795114913335:","dependencyVersion":null},{"dependencyType":"DataSource","dependencyId":"635578795114913335:","dependencyVersion":null},{"dependencyType":"DataSource","dependencyId":"635578795114913335:","dependencyV</vt:lpwstr>
  </property>
  <property fmtid="{D5CDD505-2E9C-101B-9397-08002B2CF9AE}" pid="31" name="PluginDependencies_29">
    <vt:lpwstr>ersion":null},{"dependencyType":"DataSource","dependencyId":"635578795114913335:","dependencyVersion":null},{"dependencyType":"DataSource","dependencyId":"635578795114913335:","dependencyVersion":null},{"dependencyType":"DataSource","dependencyId":"635578</vt:lpwstr>
  </property>
  <property fmtid="{D5CDD505-2E9C-101B-9397-08002B2CF9AE}" pid="32" name="PluginDependencies_30">
    <vt:lpwstr>795114913335:","dependencyVersion":null},{"dependencyType":"DataSource","dependencyId":"635578795114913335:","dependencyVersion":null},{"dependencyType":"DataSource","dependencyId":"635578795114913335:","dependencyVersion":null},{"dependencyType":"DataSou</vt:lpwstr>
  </property>
  <property fmtid="{D5CDD505-2E9C-101B-9397-08002B2CF9AE}" pid="33" name="PluginDependencies_31">
    <vt:lpwstr>rce","dependencyId":"635578795114913335:","dependencyVersion":null},{"dependencyType":"DataSource","dependencyId":"635578795114913335:","dependencyVersion":null},{"dependencyType":"DataSource","dependencyId":"635578795114913335:","dependencyVersion":null}</vt:lpwstr>
  </property>
  <property fmtid="{D5CDD505-2E9C-101B-9397-08002B2CF9AE}" pid="34" name="PluginDependencies_32">
    <vt:lpwstr>,{"dependencyType":"DataSource","dependencyId":"635578795114913335:","dependencyVersion":null},{"dependencyType":"DataSource","dependencyId":"635578795114913335:","dependencyVersion":null},{"dependencyType":"DataSource","dependencyId":"635578795114913335:</vt:lpwstr>
  </property>
  <property fmtid="{D5CDD505-2E9C-101B-9397-08002B2CF9AE}" pid="35" name="PluginDependencies_33">
    <vt:lpwstr>","dependencyVersion":null},{"dependencyType":"DataSource","dependencyId":"635578795114913335:","dependencyVersion":null},{"dependencyType":"DataSource","dependencyId":"635578795114913335:","dependencyVersion":null},{"dependencyType":"DataSource","depende</vt:lpwstr>
  </property>
  <property fmtid="{D5CDD505-2E9C-101B-9397-08002B2CF9AE}" pid="36" name="PluginDependencies_34">
    <vt:lpwstr>ncyId":"635578795114913335:","dependencyVersion":null},{"dependencyType":"DataSource","dependencyId":"635578795114913335:","dependencyVersion":null},{"dependencyType":"DataSource","dependencyId":"635578795114913335:","dependencyVersion":null},{"dependency</vt:lpwstr>
  </property>
  <property fmtid="{D5CDD505-2E9C-101B-9397-08002B2CF9AE}" pid="37" name="PluginDependencies_35">
    <vt:lpwstr>Type":"DataSource","dependencyId":"635578795114913335:","dependencyVersion":null},{"dependencyType":"DataSource","dependencyId":"635578795114913335:","dependencyVersion":null},{"dependencyType":"DataSource","dependencyId":"635578795114913335:","dependency</vt:lpwstr>
  </property>
  <property fmtid="{D5CDD505-2E9C-101B-9397-08002B2CF9AE}" pid="38" name="PluginDependencies_36">
    <vt:lpwstr>Version":null},{"dependencyType":"DataSource","dependencyId":"635578795114913335:","dependencyVersion":null},{"dependencyType":"DataSource","dependencyId":"635578795114913335:","dependencyVersion":null},{"dependencyType":"DataSource","dependencyId":"63557</vt:lpwstr>
  </property>
  <property fmtid="{D5CDD505-2E9C-101B-9397-08002B2CF9AE}" pid="39" name="PluginDependencies_37">
    <vt:lpwstr>8795114913335:","dependencyVersion":null},{"dependencyType":"DataSource","dependencyId":"635578795114913335:","dependencyVersion":null},{"dependencyType":"DataSource","dependencyId":"635578795114913335:","dependencyVersion":null},{"dependencyType":"DataSo</vt:lpwstr>
  </property>
  <property fmtid="{D5CDD505-2E9C-101B-9397-08002B2CF9AE}" pid="40" name="PluginDependencies_38">
    <vt:lpwstr>urce","dependencyId":"635578795114913335:","dependencyVersion":null},{"dependencyType":"DataSource","dependencyId":"635578795114913335:","dependencyVersion":null},{"dependencyType":"DataSource","dependencyId":"635578795114913335:","dependencyVersion":null</vt:lpwstr>
  </property>
  <property fmtid="{D5CDD505-2E9C-101B-9397-08002B2CF9AE}" pid="41" name="PluginDependencies_39">
    <vt:lpwstr>},{"dependencyType":"DataSource","dependencyId":"635578795114913335:","dependencyVersion":null},{"dependencyType":"DataSource","dependencyId":"635578795114913335:","dependencyVersion":null},{"dependencyType":"DataSource","dependencyId":"635578795114913335</vt:lpwstr>
  </property>
  <property fmtid="{D5CDD505-2E9C-101B-9397-08002B2CF9AE}" pid="42" name="PluginDependencies_40">
    <vt:lpwstr>:","dependencyVersion":null},{"dependencyType":"DataSource","dependencyId":"635578795114913335:","dependencyVersion":null},{"dependencyType":"DataSource","dependencyId":"635578795114913335:","dependencyVersion":null},{"dependencyType":"DataSource","depend</vt:lpwstr>
  </property>
  <property fmtid="{D5CDD505-2E9C-101B-9397-08002B2CF9AE}" pid="43" name="PluginDependencies_41">
    <vt:lpwstr>encyId":"635578795114913335:","dependencyVersion":null},{"dependencyType":"DataSource","dependencyId":"635578795114913335:","dependencyVersion":null},{"dependencyType":"DataSource","dependencyId":"635578795114913335:","dependencyVersion":null},{"dependenc</vt:lpwstr>
  </property>
  <property fmtid="{D5CDD505-2E9C-101B-9397-08002B2CF9AE}" pid="44" name="PluginDependencies_42">
    <vt:lpwstr>yType":"DataSource","dependencyId":"635578795114913335:","dependencyVersion":null},{"dependencyType":"DataSource","dependencyId":"635578795114913335:","dependencyVersion":null},{"dependencyType":"DataSource","dependencyId":"635578795114913335:","dependenc</vt:lpwstr>
  </property>
  <property fmtid="{D5CDD505-2E9C-101B-9397-08002B2CF9AE}" pid="45" name="PluginDependencies_43">
    <vt:lpwstr>yVersion":null},{"dependencyType":"DataSource","dependencyId":"635578795114913335:","dependencyVersion":null},{"dependencyType":"DataSource","dependencyId":"635578795114913335:","dependencyVersion":null},{"dependencyType":"DataSource","dependencyId":"6355</vt:lpwstr>
  </property>
  <property fmtid="{D5CDD505-2E9C-101B-9397-08002B2CF9AE}" pid="46" name="PluginDependencies_44">
    <vt:lpwstr>78795114913335:","dependencyVersion":null},{"dependencyType":"DataSource","dependencyId":"635578795114913335:","dependencyVersion":null},{"dependencyType":"DataSource","dependencyId":"635578795114913335:","dependencyVersion":null},{"dependencyType":"DataS</vt:lpwstr>
  </property>
  <property fmtid="{D5CDD505-2E9C-101B-9397-08002B2CF9AE}" pid="47" name="PluginDependencies_45">
    <vt:lpwstr>ource","dependencyId":"635578795114913335:","dependencyVersion":null},{"dependencyType":"DataSource","dependencyId":"635578795114913335:","dependencyVersion":null},{"dependencyType":"DataSource","dependencyId":"635578795114913335:","dependencyVersion":nul</vt:lpwstr>
  </property>
  <property fmtid="{D5CDD505-2E9C-101B-9397-08002B2CF9AE}" pid="48" name="PluginDependencies_46">
    <vt:lpwstr>l},{"dependencyType":"DataSource","dependencyId":"635578795114913335:","dependencyVersion":null},{"dependencyType":"DataSource","dependencyId":"635578795114913335:","dependencyVersion":null},{"dependencyType":"DataSource","dependencyId":"63557879511491333</vt:lpwstr>
  </property>
  <property fmtid="{D5CDD505-2E9C-101B-9397-08002B2CF9AE}" pid="49" name="PluginDependencies_47">
    <vt:lpwstr>5:","dependencyVersion":null},{"dependencyType":"DataSource","dependencyId":"635578795114913335:","dependencyVersion":null},{"dependencyType":"DataSource","dependencyId":"635578795114913335:","dependencyVersion":null},{"dependencyType":"DataSource","depen</vt:lpwstr>
  </property>
  <property fmtid="{D5CDD505-2E9C-101B-9397-08002B2CF9AE}" pid="50" name="PluginDependencies_48">
    <vt:lpwstr>dencyId":"635578795114913335:","dependencyVersion":null},{"dependencyType":"DataSource","dependencyId":"635578795114913335:","dependencyVersion":null},{"dependencyType":"DataSource","dependencyId":"635578795114913335:","dependencyVersion":null},{"dependen</vt:lpwstr>
  </property>
  <property fmtid="{D5CDD505-2E9C-101B-9397-08002B2CF9AE}" pid="51" name="PluginDependencies_49">
    <vt:lpwstr>cyType":"DataSource","dependencyId":"635578795114913335:","dependencyVersion":null},{"dependencyType":"DataSource","dependencyId":"635578795114913335:","dependencyVersion":null},{"dependencyType":"DataSource","dependencyId":"635578795114913335:","dependen</vt:lpwstr>
  </property>
  <property fmtid="{D5CDD505-2E9C-101B-9397-08002B2CF9AE}" pid="52" name="PluginDependencies_50">
    <vt:lpwstr>cyVersion":null},{"dependencyType":"DataSource","dependencyId":"635578795114913335:","dependencyVersion":null},{"dependencyType":"DataSource","dependencyId":"635578795114913335:","dependencyVersion":null},{"dependencyType":"DataSource","dependencyId":"635</vt:lpwstr>
  </property>
  <property fmtid="{D5CDD505-2E9C-101B-9397-08002B2CF9AE}" pid="53" name="PluginDependencies_51">
    <vt:lpwstr>578795114913335:","dependencyVersion":null},{"dependencyType":"DataSource","dependencyId":"635578795114913335:","dependencyVersion":null},{"dependencyType":"DataSource","dependencyId":"635578795114913335:","dependencyVersion":null},{"dependencyType":"Data</vt:lpwstr>
  </property>
  <property fmtid="{D5CDD505-2E9C-101B-9397-08002B2CF9AE}" pid="54" name="PluginDependencies_52">
    <vt:lpwstr>Source","dependencyId":"635578795114913335:","dependencyVersion":null},{"dependencyType":"DataSource","dependencyId":"635578795114913335:","dependencyVersion":null},{"dependencyType":"DataSource","dependencyId":"635578795114913335:","dependencyVersion":nu</vt:lpwstr>
  </property>
  <property fmtid="{D5CDD505-2E9C-101B-9397-08002B2CF9AE}" pid="55" name="PluginDependencies_53">
    <vt:lpwstr>ll},{"dependencyType":"DataSource","dependencyId":"635578795114913335:","dependencyVersion":null},{"dependencyType":"DataSource","dependencyId":"635578795114913335:","dependencyVersion":null},{"dependencyType":"DataSource","dependencyId":"6355787951149133</vt:lpwstr>
  </property>
  <property fmtid="{D5CDD505-2E9C-101B-9397-08002B2CF9AE}" pid="56" name="PluginDependencies_54">
    <vt:lpwstr>35:","dependencyVersion":null},{"dependencyType":"DataSource","dependencyId":"635578795114913335:","dependencyVersion":null},{"dependencyType":"DataSource","dependencyId":"635578795114913335:","dependencyVersion":null},{"dependencyType":"DataSource","depe</vt:lpwstr>
  </property>
  <property fmtid="{D5CDD505-2E9C-101B-9397-08002B2CF9AE}" pid="57" name="PluginDependencies_55">
    <vt:lpwstr>ndencyId":"635578795114913335:","dependencyVersion":null},{"dependencyType":"DataSource","dependencyId":"635578795114913335:","dependencyVersion":null},{"dependencyType":"DataSource","dependencyId":"635578795114913335:","dependencyVersion":null},{"depende</vt:lpwstr>
  </property>
  <property fmtid="{D5CDD505-2E9C-101B-9397-08002B2CF9AE}" pid="58" name="PluginDependencies_56">
    <vt:lpwstr>ncyType":"DataSource","dependencyId":"635578795114913335:","dependencyVersion":null},{"dependencyType":"DataSource","dependencyId":"635578795114913335:","dependencyVersion":null},{"dependencyType":"DataSource","dependencyId":"635578795114913335:","depende</vt:lpwstr>
  </property>
  <property fmtid="{D5CDD505-2E9C-101B-9397-08002B2CF9AE}" pid="59" name="PluginDependencies_57">
    <vt:lpwstr>ncyVersion":null},{"dependencyType":"DataSource","dependencyId":"635578795114913335:","dependencyVersion":null},{"dependencyType":"DataSource","dependencyId":"635578795114913335:","dependencyVersion":null},{"dependencyType":"DataSource","dependencyId":"63</vt:lpwstr>
  </property>
  <property fmtid="{D5CDD505-2E9C-101B-9397-08002B2CF9AE}" pid="60" name="PluginDependencies_58">
    <vt:lpwstr>5578795114913335:","dependencyVersion":null},{"dependencyType":"DataSource","dependencyId":"635578795114913335:","dependencyVersion":null},{"dependencyType":"DataSource","dependencyId":"635578795114913335:","dependencyVersion":null},{"dependencyType":"Dat</vt:lpwstr>
  </property>
  <property fmtid="{D5CDD505-2E9C-101B-9397-08002B2CF9AE}" pid="61" name="PluginDependencies_59">
    <vt:lpwstr>aSource","dependencyId":"635578795114913335:","dependencyVersion":null},{"dependencyType":"DataSource","dependencyId":"635578795114913335:","dependencyVersion":null},{"dependencyType":"DataSource","dependencyId":"635578795114913335:","dependencyVersion":n</vt:lpwstr>
  </property>
  <property fmtid="{D5CDD505-2E9C-101B-9397-08002B2CF9AE}" pid="62" name="PluginDependencies_60">
    <vt:lpwstr>ull},{"dependencyType":"DataSource","dependencyId":"635578795114913335:","dependencyVersion":null},{"dependencyType":"DataSource","dependencyId":"635578795114913335:","dependencyVersion":null},{"dependencyType":"DataSource","dependencyId":"635578795114913</vt:lpwstr>
  </property>
  <property fmtid="{D5CDD505-2E9C-101B-9397-08002B2CF9AE}" pid="63" name="PluginDependencies_61">
    <vt:lpwstr>335:","dependencyVersion":null},{"dependencyType":"DataSource","dependencyId":"635578795114913335:","dependencyVersion":null},{"dependencyType":"DataSource","dependencyId":"635578795114913335:","dependencyVersion":null},{"dependencyType":"DataSource","dep</vt:lpwstr>
  </property>
  <property fmtid="{D5CDD505-2E9C-101B-9397-08002B2CF9AE}" pid="64" name="PluginDependencies_62">
    <vt:lpwstr>endencyId":"635578795114913335:","dependencyVersion":null},{"dependencyType":"DataSource","dependencyId":"635578795114913335:","dependencyVersion":null},{"dependencyType":"DataSource","dependencyId":"635578795114913335:","dependencyVersion":null},{"depend</vt:lpwstr>
  </property>
  <property fmtid="{D5CDD505-2E9C-101B-9397-08002B2CF9AE}" pid="65" name="PluginDependencies_63">
    <vt:lpwstr>encyType":"DataSource","dependencyId":"635578795114913335:","dependencyVersion":null},{"dependencyType":"DataSource","dependencyId":"635578795114913335:","dependencyVersion":null},{"dependencyType":"DataSource","dependencyId":"635578795114913335:","depend</vt:lpwstr>
  </property>
  <property fmtid="{D5CDD505-2E9C-101B-9397-08002B2CF9AE}" pid="66" name="PluginDependencies_64">
    <vt:lpwstr>encyVersion":null},{"dependencyType":"DataSource","dependencyId":"635578795114913335:","dependencyVersion":null},{"dependencyType":"DataSource","dependencyId":"635578795114913335:","dependencyVersion":null},{"dependencyType":"DataSource","dependencyId":"6</vt:lpwstr>
  </property>
  <property fmtid="{D5CDD505-2E9C-101B-9397-08002B2CF9AE}" pid="67" name="PluginDependencies_65">
    <vt:lpwstr>35578795114913335:","dependencyVersion":null},{"dependencyType":"DataSource","dependencyId":"635578795114913335:","dependencyVersion":null},{"dependencyType":"DataSource","dependencyId":"635578795114913335:","dependencyVersion":null},{"dependencyType":"Da</vt:lpwstr>
  </property>
  <property fmtid="{D5CDD505-2E9C-101B-9397-08002B2CF9AE}" pid="68" name="PluginDependencies_66">
    <vt:lpwstr>taSource","dependencyId":"635578795114913335:","dependencyVersion":null},{"dependencyType":"DataSource","dependencyId":"635578795114913335:","dependencyVersion":null},{"dependencyType":"DataSource","dependencyId":"635578795114913335:","dependencyVersion":</vt:lpwstr>
  </property>
  <property fmtid="{D5CDD505-2E9C-101B-9397-08002B2CF9AE}" pid="69" name="PluginDependencies_67">
    <vt:lpwstr>null},{"dependencyType":"DataSource","dependencyId":"635578795114913335:","dependencyVersion":null}],"635953564952684809:635953567398858530":[],"635953564952684809:635953567704393972":[],"635953564952684809:635953654399412128":[],"635953564952684809:63597</vt:lpwstr>
  </property>
  <property fmtid="{D5CDD505-2E9C-101B-9397-08002B2CF9AE}" pid="70" name="PluginDependencies_68">
    <vt:lpwstr>9493927969348":[],"635953564952684809:635953567398858529":[],"635953564952684809:635986781855808500":[]}</vt:lpwstr>
  </property>
  <property fmtid="{D5CDD505-2E9C-101B-9397-08002B2CF9AE}" pid="71" name="CustomerId">
    <vt:lpwstr>deloittebasic</vt:lpwstr>
  </property>
  <property fmtid="{D5CDD505-2E9C-101B-9397-08002B2CF9AE}" pid="72" name="TemplateId">
    <vt:lpwstr>635986756201929906</vt:lpwstr>
  </property>
  <property fmtid="{D5CDD505-2E9C-101B-9397-08002B2CF9AE}" pid="73" name="UserProfileId">
    <vt:lpwstr>635996688503861219</vt:lpwstr>
  </property>
</Properties>
</file>